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4</c:v>
                </c:pt>
                <c:pt idx="29">
                  <c:v>12</c:v>
                </c:pt>
                <c:pt idx="30">
                  <c:v>13</c:v>
                </c:pt>
                <c:pt idx="31">
                  <c:v>6</c:v>
                </c:pt>
                <c:pt idx="32">
                  <c:v>5</c:v>
                </c:pt>
                <c:pt idx="33">
                  <c:v>6</c:v>
                </c:pt>
                <c:pt idx="34">
                  <c:v>10</c:v>
                </c:pt>
                <c:pt idx="35">
                  <c:v>10</c:v>
                </c:pt>
                <c:pt idx="36">
                  <c:v>11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6</c:v>
                </c:pt>
                <c:pt idx="74">
                  <c:v>17</c:v>
                </c:pt>
                <c:pt idx="75">
                  <c:v>14</c:v>
                </c:pt>
                <c:pt idx="76">
                  <c:v>16</c:v>
                </c:pt>
                <c:pt idx="77">
                  <c:v>16</c:v>
                </c:pt>
                <c:pt idx="78">
                  <c:v>15</c:v>
                </c:pt>
                <c:pt idx="79">
                  <c:v>16</c:v>
                </c:pt>
                <c:pt idx="80">
                  <c:v>16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6</c:v>
                </c:pt>
                <c:pt idx="85">
                  <c:v>17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E-3</c:v>
                </c:pt>
                <c:pt idx="72">
                  <c:v>1</c:v>
                </c:pt>
                <c:pt idx="73">
                  <c:v>1E-3</c:v>
                </c:pt>
                <c:pt idx="74">
                  <c:v>1E-3</c:v>
                </c:pt>
                <c:pt idx="75">
                  <c:v>1E-3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</c:v>
                </c:pt>
                <c:pt idx="60">
                  <c:v>1</c:v>
                </c:pt>
                <c:pt idx="61">
                  <c:v>1E-3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1</c:v>
                </c:pt>
                <c:pt idx="77">
                  <c:v>1E-3</c:v>
                </c:pt>
                <c:pt idx="78">
                  <c:v>1E-3</c:v>
                </c:pt>
                <c:pt idx="79">
                  <c:v>1E-3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6">
                  <c:v>1E-3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1E-3</c:v>
                </c:pt>
                <c:pt idx="76">
                  <c:v>1E-3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</c:v>
                </c:pt>
                <c:pt idx="84">
                  <c:v>1E-3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E-3</c:v>
                </c:pt>
                <c:pt idx="72">
                  <c:v>1E-3</c:v>
                </c:pt>
                <c:pt idx="73">
                  <c:v>1E-3</c:v>
                </c:pt>
                <c:pt idx="74">
                  <c:v>1E-3</c:v>
                </c:pt>
                <c:pt idx="75">
                  <c:v>1E-3</c:v>
                </c:pt>
                <c:pt idx="76">
                  <c:v>1E-3</c:v>
                </c:pt>
                <c:pt idx="77">
                  <c:v>1E-3</c:v>
                </c:pt>
                <c:pt idx="78">
                  <c:v>1E-3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E-3</c:v>
                </c:pt>
                <c:pt idx="18">
                  <c:v>1E-3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1E-3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E-3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E-3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20</c:v>
                </c:pt>
                <c:pt idx="3">
                  <c:v>27</c:v>
                </c:pt>
                <c:pt idx="4">
                  <c:v>28</c:v>
                </c:pt>
                <c:pt idx="5">
                  <c:v>31</c:v>
                </c:pt>
                <c:pt idx="6">
                  <c:v>36</c:v>
                </c:pt>
                <c:pt idx="7">
                  <c:v>42</c:v>
                </c:pt>
                <c:pt idx="8">
                  <c:v>47</c:v>
                </c:pt>
                <c:pt idx="9">
                  <c:v>52</c:v>
                </c:pt>
                <c:pt idx="10">
                  <c:v>52</c:v>
                </c:pt>
                <c:pt idx="11">
                  <c:v>56</c:v>
                </c:pt>
                <c:pt idx="12">
                  <c:v>56</c:v>
                </c:pt>
                <c:pt idx="13">
                  <c:v>58</c:v>
                </c:pt>
                <c:pt idx="14">
                  <c:v>59</c:v>
                </c:pt>
                <c:pt idx="15">
                  <c:v>61</c:v>
                </c:pt>
                <c:pt idx="16">
                  <c:v>65</c:v>
                </c:pt>
                <c:pt idx="17">
                  <c:v>69</c:v>
                </c:pt>
                <c:pt idx="18">
                  <c:v>70</c:v>
                </c:pt>
                <c:pt idx="19">
                  <c:v>72</c:v>
                </c:pt>
                <c:pt idx="20">
                  <c:v>72</c:v>
                </c:pt>
                <c:pt idx="21">
                  <c:v>72</c:v>
                </c:pt>
                <c:pt idx="22">
                  <c:v>72</c:v>
                </c:pt>
                <c:pt idx="23">
                  <c:v>75</c:v>
                </c:pt>
                <c:pt idx="24">
                  <c:v>78</c:v>
                </c:pt>
                <c:pt idx="25">
                  <c:v>78</c:v>
                </c:pt>
                <c:pt idx="26">
                  <c:v>78</c:v>
                </c:pt>
                <c:pt idx="27">
                  <c:v>81</c:v>
                </c:pt>
                <c:pt idx="28">
                  <c:v>82</c:v>
                </c:pt>
                <c:pt idx="29">
                  <c:v>84</c:v>
                </c:pt>
                <c:pt idx="30">
                  <c:v>86</c:v>
                </c:pt>
                <c:pt idx="31">
                  <c:v>86</c:v>
                </c:pt>
                <c:pt idx="32">
                  <c:v>86</c:v>
                </c:pt>
                <c:pt idx="33">
                  <c:v>87</c:v>
                </c:pt>
                <c:pt idx="34">
                  <c:v>89</c:v>
                </c:pt>
                <c:pt idx="35">
                  <c:v>89</c:v>
                </c:pt>
                <c:pt idx="36">
                  <c:v>90</c:v>
                </c:pt>
                <c:pt idx="37">
                  <c:v>91</c:v>
                </c:pt>
                <c:pt idx="38">
                  <c:v>92</c:v>
                </c:pt>
                <c:pt idx="39">
                  <c:v>93</c:v>
                </c:pt>
                <c:pt idx="40">
                  <c:v>94</c:v>
                </c:pt>
                <c:pt idx="41">
                  <c:v>96</c:v>
                </c:pt>
                <c:pt idx="42">
                  <c:v>97</c:v>
                </c:pt>
                <c:pt idx="43">
                  <c:v>100</c:v>
                </c:pt>
                <c:pt idx="44">
                  <c:v>101</c:v>
                </c:pt>
                <c:pt idx="45">
                  <c:v>103</c:v>
                </c:pt>
                <c:pt idx="46">
                  <c:v>104</c:v>
                </c:pt>
                <c:pt idx="47">
                  <c:v>105</c:v>
                </c:pt>
                <c:pt idx="48">
                  <c:v>107</c:v>
                </c:pt>
                <c:pt idx="49">
                  <c:v>108</c:v>
                </c:pt>
                <c:pt idx="50">
                  <c:v>110</c:v>
                </c:pt>
                <c:pt idx="51">
                  <c:v>113</c:v>
                </c:pt>
                <c:pt idx="52">
                  <c:v>114</c:v>
                </c:pt>
                <c:pt idx="53">
                  <c:v>114</c:v>
                </c:pt>
                <c:pt idx="54">
                  <c:v>115</c:v>
                </c:pt>
                <c:pt idx="55">
                  <c:v>116</c:v>
                </c:pt>
                <c:pt idx="56">
                  <c:v>117</c:v>
                </c:pt>
                <c:pt idx="57">
                  <c:v>118</c:v>
                </c:pt>
                <c:pt idx="58">
                  <c:v>122</c:v>
                </c:pt>
                <c:pt idx="59">
                  <c:v>125</c:v>
                </c:pt>
                <c:pt idx="60">
                  <c:v>127</c:v>
                </c:pt>
                <c:pt idx="61">
                  <c:v>128</c:v>
                </c:pt>
                <c:pt idx="62">
                  <c:v>128</c:v>
                </c:pt>
                <c:pt idx="63">
                  <c:v>131</c:v>
                </c:pt>
                <c:pt idx="64">
                  <c:v>132</c:v>
                </c:pt>
                <c:pt idx="65">
                  <c:v>132</c:v>
                </c:pt>
                <c:pt idx="66">
                  <c:v>135</c:v>
                </c:pt>
                <c:pt idx="67">
                  <c:v>137</c:v>
                </c:pt>
                <c:pt idx="68">
                  <c:v>140</c:v>
                </c:pt>
                <c:pt idx="69">
                  <c:v>142</c:v>
                </c:pt>
                <c:pt idx="70">
                  <c:v>145</c:v>
                </c:pt>
                <c:pt idx="71">
                  <c:v>148</c:v>
                </c:pt>
                <c:pt idx="72">
                  <c:v>150</c:v>
                </c:pt>
                <c:pt idx="73">
                  <c:v>150</c:v>
                </c:pt>
                <c:pt idx="74">
                  <c:v>152</c:v>
                </c:pt>
                <c:pt idx="75">
                  <c:v>153</c:v>
                </c:pt>
                <c:pt idx="76">
                  <c:v>156</c:v>
                </c:pt>
                <c:pt idx="77">
                  <c:v>160</c:v>
                </c:pt>
                <c:pt idx="78">
                  <c:v>163</c:v>
                </c:pt>
                <c:pt idx="79">
                  <c:v>167</c:v>
                </c:pt>
                <c:pt idx="80">
                  <c:v>171</c:v>
                </c:pt>
                <c:pt idx="81">
                  <c:v>172</c:v>
                </c:pt>
                <c:pt idx="82">
                  <c:v>173</c:v>
                </c:pt>
                <c:pt idx="83">
                  <c:v>176</c:v>
                </c:pt>
                <c:pt idx="84">
                  <c:v>178</c:v>
                </c:pt>
                <c:pt idx="85">
                  <c:v>180</c:v>
                </c:pt>
                <c:pt idx="86">
                  <c:v>181</c:v>
                </c:pt>
                <c:pt idx="87">
                  <c:v>184</c:v>
                </c:pt>
                <c:pt idx="88">
                  <c:v>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7</c:v>
                </c:pt>
                <c:pt idx="64">
                  <c:v>7</c:v>
                </c:pt>
                <c:pt idx="65">
                  <c:v>7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9</c:v>
                </c:pt>
                <c:pt idx="81">
                  <c:v>9</c:v>
                </c:pt>
                <c:pt idx="82">
                  <c:v>9</c:v>
                </c:pt>
                <c:pt idx="83">
                  <c:v>9</c:v>
                </c:pt>
                <c:pt idx="84">
                  <c:v>9</c:v>
                </c:pt>
                <c:pt idx="85">
                  <c:v>9</c:v>
                </c:pt>
                <c:pt idx="86">
                  <c:v>9</c:v>
                </c:pt>
                <c:pt idx="87">
                  <c:v>9</c:v>
                </c:pt>
                <c:pt idx="88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E-3</c:v>
                </c:pt>
                <c:pt idx="7">
                  <c:v>1E-3</c:v>
                </c:pt>
                <c:pt idx="8">
                  <c:v>1E-3</c:v>
                </c:pt>
                <c:pt idx="9">
                  <c:v>1E-3</c:v>
                </c:pt>
                <c:pt idx="10">
                  <c:v>1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5</c:v>
                </c:pt>
                <c:pt idx="14">
                  <c:v>5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</c:v>
                </c:pt>
                <c:pt idx="33">
                  <c:v>8</c:v>
                </c:pt>
                <c:pt idx="34">
                  <c:v>8</c:v>
                </c:pt>
                <c:pt idx="35">
                  <c:v>8</c:v>
                </c:pt>
                <c:pt idx="36">
                  <c:v>8</c:v>
                </c:pt>
                <c:pt idx="37">
                  <c:v>8</c:v>
                </c:pt>
                <c:pt idx="38">
                  <c:v>8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1</c:v>
                </c:pt>
                <c:pt idx="67">
                  <c:v>11</c:v>
                </c:pt>
                <c:pt idx="68">
                  <c:v>11</c:v>
                </c:pt>
                <c:pt idx="69">
                  <c:v>12</c:v>
                </c:pt>
                <c:pt idx="70">
                  <c:v>13</c:v>
                </c:pt>
                <c:pt idx="71">
                  <c:v>13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5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6</c:v>
                </c:pt>
                <c:pt idx="84">
                  <c:v>16</c:v>
                </c:pt>
                <c:pt idx="85">
                  <c:v>17</c:v>
                </c:pt>
                <c:pt idx="86">
                  <c:v>17</c:v>
                </c:pt>
                <c:pt idx="87">
                  <c:v>17</c:v>
                </c:pt>
                <c:pt idx="88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E-3</c:v>
                </c:pt>
                <c:pt idx="7">
                  <c:v>1E-3</c:v>
                </c:pt>
                <c:pt idx="8">
                  <c:v>1E-3</c:v>
                </c:pt>
                <c:pt idx="9">
                  <c:v>1E-3</c:v>
                </c:pt>
                <c:pt idx="10">
                  <c:v>1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E-3</c:v>
                </c:pt>
                <c:pt idx="72">
                  <c:v>1E-3</c:v>
                </c:pt>
                <c:pt idx="73">
                  <c:v>1E-3</c:v>
                </c:pt>
                <c:pt idx="74">
                  <c:v>1E-3</c:v>
                </c:pt>
                <c:pt idx="75">
                  <c:v>1E-3</c:v>
                </c:pt>
                <c:pt idx="76">
                  <c:v>1E-3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E-3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11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1</c:v>
                </c:pt>
                <c:pt idx="41">
                  <c:v>11</c:v>
                </c:pt>
                <c:pt idx="42">
                  <c:v>11</c:v>
                </c:pt>
                <c:pt idx="43">
                  <c:v>11</c:v>
                </c:pt>
                <c:pt idx="44">
                  <c:v>11</c:v>
                </c:pt>
                <c:pt idx="45">
                  <c:v>11</c:v>
                </c:pt>
                <c:pt idx="46">
                  <c:v>11</c:v>
                </c:pt>
                <c:pt idx="47">
                  <c:v>11</c:v>
                </c:pt>
                <c:pt idx="48">
                  <c:v>11</c:v>
                </c:pt>
                <c:pt idx="49">
                  <c:v>11</c:v>
                </c:pt>
                <c:pt idx="50">
                  <c:v>11</c:v>
                </c:pt>
                <c:pt idx="51">
                  <c:v>11</c:v>
                </c:pt>
                <c:pt idx="52">
                  <c:v>11</c:v>
                </c:pt>
                <c:pt idx="53">
                  <c:v>11</c:v>
                </c:pt>
                <c:pt idx="54">
                  <c:v>11</c:v>
                </c:pt>
                <c:pt idx="55">
                  <c:v>11</c:v>
                </c:pt>
                <c:pt idx="56">
                  <c:v>11</c:v>
                </c:pt>
                <c:pt idx="57">
                  <c:v>11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2</c:v>
                </c:pt>
                <c:pt idx="64">
                  <c:v>12</c:v>
                </c:pt>
                <c:pt idx="65">
                  <c:v>12</c:v>
                </c:pt>
                <c:pt idx="66">
                  <c:v>14</c:v>
                </c:pt>
                <c:pt idx="67">
                  <c:v>14</c:v>
                </c:pt>
                <c:pt idx="68">
                  <c:v>14</c:v>
                </c:pt>
                <c:pt idx="69">
                  <c:v>15</c:v>
                </c:pt>
                <c:pt idx="70">
                  <c:v>15</c:v>
                </c:pt>
                <c:pt idx="71">
                  <c:v>15</c:v>
                </c:pt>
                <c:pt idx="72">
                  <c:v>15</c:v>
                </c:pt>
                <c:pt idx="73">
                  <c:v>15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7</c:v>
                </c:pt>
                <c:pt idx="87">
                  <c:v>17</c:v>
                </c:pt>
                <c:pt idx="88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</c:v>
                </c:pt>
                <c:pt idx="24">
                  <c:v>1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E-3</c:v>
                </c:pt>
                <c:pt idx="78">
                  <c:v>1E-3</c:v>
                </c:pt>
                <c:pt idx="79">
                  <c:v>1E-3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E-3</c:v>
                </c:pt>
                <c:pt idx="1">
                  <c:v>3</c:v>
                </c:pt>
                <c:pt idx="2">
                  <c:v>4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7</c:v>
                </c:pt>
                <c:pt idx="11">
                  <c:v>8</c:v>
                </c:pt>
                <c:pt idx="12">
                  <c:v>8</c:v>
                </c:pt>
                <c:pt idx="13">
                  <c:v>9</c:v>
                </c:pt>
                <c:pt idx="14">
                  <c:v>9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1</c:v>
                </c:pt>
                <c:pt idx="20">
                  <c:v>11</c:v>
                </c:pt>
                <c:pt idx="21">
                  <c:v>11</c:v>
                </c:pt>
                <c:pt idx="22">
                  <c:v>11</c:v>
                </c:pt>
                <c:pt idx="23">
                  <c:v>11</c:v>
                </c:pt>
                <c:pt idx="24">
                  <c:v>11</c:v>
                </c:pt>
                <c:pt idx="25">
                  <c:v>11</c:v>
                </c:pt>
                <c:pt idx="26">
                  <c:v>11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11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2</c:v>
                </c:pt>
                <c:pt idx="40">
                  <c:v>13</c:v>
                </c:pt>
                <c:pt idx="41">
                  <c:v>13</c:v>
                </c:pt>
                <c:pt idx="42">
                  <c:v>13</c:v>
                </c:pt>
                <c:pt idx="43">
                  <c:v>13</c:v>
                </c:pt>
                <c:pt idx="44">
                  <c:v>13</c:v>
                </c:pt>
                <c:pt idx="45">
                  <c:v>14</c:v>
                </c:pt>
                <c:pt idx="46">
                  <c:v>14</c:v>
                </c:pt>
                <c:pt idx="47">
                  <c:v>14</c:v>
                </c:pt>
                <c:pt idx="48">
                  <c:v>14</c:v>
                </c:pt>
                <c:pt idx="49">
                  <c:v>14</c:v>
                </c:pt>
                <c:pt idx="50">
                  <c:v>15</c:v>
                </c:pt>
                <c:pt idx="51">
                  <c:v>15</c:v>
                </c:pt>
                <c:pt idx="52">
                  <c:v>15</c:v>
                </c:pt>
                <c:pt idx="53">
                  <c:v>15</c:v>
                </c:pt>
                <c:pt idx="54">
                  <c:v>15</c:v>
                </c:pt>
                <c:pt idx="55">
                  <c:v>15</c:v>
                </c:pt>
                <c:pt idx="56">
                  <c:v>15</c:v>
                </c:pt>
                <c:pt idx="57">
                  <c:v>15</c:v>
                </c:pt>
                <c:pt idx="58">
                  <c:v>15</c:v>
                </c:pt>
                <c:pt idx="59">
                  <c:v>15</c:v>
                </c:pt>
                <c:pt idx="60">
                  <c:v>15</c:v>
                </c:pt>
                <c:pt idx="61">
                  <c:v>16</c:v>
                </c:pt>
                <c:pt idx="62">
                  <c:v>16</c:v>
                </c:pt>
                <c:pt idx="63">
                  <c:v>16</c:v>
                </c:pt>
                <c:pt idx="64">
                  <c:v>17</c:v>
                </c:pt>
                <c:pt idx="65">
                  <c:v>17</c:v>
                </c:pt>
                <c:pt idx="66">
                  <c:v>17</c:v>
                </c:pt>
                <c:pt idx="67">
                  <c:v>17</c:v>
                </c:pt>
                <c:pt idx="68">
                  <c:v>17</c:v>
                </c:pt>
                <c:pt idx="69">
                  <c:v>17</c:v>
                </c:pt>
                <c:pt idx="70">
                  <c:v>17</c:v>
                </c:pt>
                <c:pt idx="71">
                  <c:v>17</c:v>
                </c:pt>
                <c:pt idx="72">
                  <c:v>17</c:v>
                </c:pt>
                <c:pt idx="73">
                  <c:v>17</c:v>
                </c:pt>
                <c:pt idx="74">
                  <c:v>17</c:v>
                </c:pt>
                <c:pt idx="75">
                  <c:v>17</c:v>
                </c:pt>
                <c:pt idx="76">
                  <c:v>17</c:v>
                </c:pt>
                <c:pt idx="77">
                  <c:v>17</c:v>
                </c:pt>
                <c:pt idx="78">
                  <c:v>17</c:v>
                </c:pt>
                <c:pt idx="79">
                  <c:v>17</c:v>
                </c:pt>
                <c:pt idx="80">
                  <c:v>17</c:v>
                </c:pt>
                <c:pt idx="81">
                  <c:v>17</c:v>
                </c:pt>
                <c:pt idx="82">
                  <c:v>17</c:v>
                </c:pt>
                <c:pt idx="83">
                  <c:v>18</c:v>
                </c:pt>
                <c:pt idx="84">
                  <c:v>18</c:v>
                </c:pt>
                <c:pt idx="85">
                  <c:v>18</c:v>
                </c:pt>
                <c:pt idx="86">
                  <c:v>19</c:v>
                </c:pt>
                <c:pt idx="87">
                  <c:v>20</c:v>
                </c:pt>
                <c:pt idx="8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</c:v>
                </c:pt>
                <c:pt idx="72">
                  <c:v>1E-3</c:v>
                </c:pt>
                <c:pt idx="73">
                  <c:v>1E-3</c:v>
                </c:pt>
                <c:pt idx="74">
                  <c:v>1E-3</c:v>
                </c:pt>
                <c:pt idx="75">
                  <c:v>1</c:v>
                </c:pt>
                <c:pt idx="76">
                  <c:v>1E-3</c:v>
                </c:pt>
                <c:pt idx="77">
                  <c:v>1E-3</c:v>
                </c:pt>
                <c:pt idx="78">
                  <c:v>1E-3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7">
                  <c:v>1E-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E-3</c:v>
                </c:pt>
                <c:pt idx="1">
                  <c:v>1E-3</c:v>
                </c:pt>
                <c:pt idx="2">
                  <c:v>1E-3</c:v>
                </c:pt>
                <c:pt idx="3">
                  <c:v>1E-3</c:v>
                </c:pt>
                <c:pt idx="4">
                  <c:v>1E-3</c:v>
                </c:pt>
                <c:pt idx="5">
                  <c:v>1E-3</c:v>
                </c:pt>
                <c:pt idx="6">
                  <c:v>1E-3</c:v>
                </c:pt>
                <c:pt idx="7">
                  <c:v>1E-3</c:v>
                </c:pt>
                <c:pt idx="8">
                  <c:v>1E-3</c:v>
                </c:pt>
                <c:pt idx="9">
                  <c:v>1E-3</c:v>
                </c:pt>
                <c:pt idx="10">
                  <c:v>1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E-3</c:v>
                </c:pt>
                <c:pt idx="79">
                  <c:v>1E-3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5">
                  <c:v>1E-3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3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E-3</c:v>
                </c:pt>
                <c:pt idx="9">
                  <c:v>1E-3</c:v>
                </c:pt>
                <c:pt idx="10">
                  <c:v>1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E-3</c:v>
                </c:pt>
                <c:pt idx="43">
                  <c:v>1E-3</c:v>
                </c:pt>
                <c:pt idx="44">
                  <c:v>1E-3</c:v>
                </c:pt>
                <c:pt idx="45">
                  <c:v>1E-3</c:v>
                </c:pt>
                <c:pt idx="46">
                  <c:v>1E-3</c:v>
                </c:pt>
                <c:pt idx="47">
                  <c:v>1E-3</c:v>
                </c:pt>
                <c:pt idx="48">
                  <c:v>1E-3</c:v>
                </c:pt>
                <c:pt idx="49">
                  <c:v>1E-3</c:v>
                </c:pt>
                <c:pt idx="50">
                  <c:v>1E-3</c:v>
                </c:pt>
                <c:pt idx="51">
                  <c:v>1E-3</c:v>
                </c:pt>
                <c:pt idx="52">
                  <c:v>1E-3</c:v>
                </c:pt>
                <c:pt idx="53">
                  <c:v>1E-3</c:v>
                </c:pt>
                <c:pt idx="54">
                  <c:v>1E-3</c:v>
                </c:pt>
                <c:pt idx="55">
                  <c:v>1E-3</c:v>
                </c:pt>
                <c:pt idx="56">
                  <c:v>1E-3</c:v>
                </c:pt>
                <c:pt idx="57">
                  <c:v>1E-3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1E-3</c:v>
                </c:pt>
                <c:pt idx="63">
                  <c:v>1E-3</c:v>
                </c:pt>
                <c:pt idx="64">
                  <c:v>1E-3</c:v>
                </c:pt>
                <c:pt idx="65">
                  <c:v>1E-3</c:v>
                </c:pt>
                <c:pt idx="66">
                  <c:v>1E-3</c:v>
                </c:pt>
                <c:pt idx="67">
                  <c:v>1E-3</c:v>
                </c:pt>
                <c:pt idx="68">
                  <c:v>1E-3</c:v>
                </c:pt>
                <c:pt idx="69">
                  <c:v>1E-3</c:v>
                </c:pt>
                <c:pt idx="70">
                  <c:v>1E-3</c:v>
                </c:pt>
                <c:pt idx="71">
                  <c:v>1E-3</c:v>
                </c:pt>
                <c:pt idx="72">
                  <c:v>1E-3</c:v>
                </c:pt>
                <c:pt idx="73">
                  <c:v>1E-3</c:v>
                </c:pt>
                <c:pt idx="74">
                  <c:v>1E-3</c:v>
                </c:pt>
                <c:pt idx="75">
                  <c:v>1E-3</c:v>
                </c:pt>
                <c:pt idx="76">
                  <c:v>1E-3</c:v>
                </c:pt>
                <c:pt idx="77">
                  <c:v>1</c:v>
                </c:pt>
                <c:pt idx="78">
                  <c:v>1E-3</c:v>
                </c:pt>
                <c:pt idx="79">
                  <c:v>1E-3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1E-3</c:v>
                </c:pt>
                <c:pt idx="86">
                  <c:v>1E-3</c:v>
                </c:pt>
                <c:pt idx="87">
                  <c:v>1</c:v>
                </c:pt>
                <c:pt idx="8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E-3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E-3</c:v>
                </c:pt>
                <c:pt idx="14">
                  <c:v>1E-3</c:v>
                </c:pt>
                <c:pt idx="15">
                  <c:v>1E-3</c:v>
                </c:pt>
                <c:pt idx="16">
                  <c:v>1E-3</c:v>
                </c:pt>
                <c:pt idx="17">
                  <c:v>1E-3</c:v>
                </c:pt>
                <c:pt idx="18">
                  <c:v>1E-3</c:v>
                </c:pt>
                <c:pt idx="19">
                  <c:v>1E-3</c:v>
                </c:pt>
                <c:pt idx="20">
                  <c:v>1E-3</c:v>
                </c:pt>
                <c:pt idx="21">
                  <c:v>1E-3</c:v>
                </c:pt>
                <c:pt idx="22">
                  <c:v>1E-3</c:v>
                </c:pt>
                <c:pt idx="23">
                  <c:v>1E-3</c:v>
                </c:pt>
                <c:pt idx="24">
                  <c:v>1E-3</c:v>
                </c:pt>
                <c:pt idx="25">
                  <c:v>1E-3</c:v>
                </c:pt>
                <c:pt idx="26">
                  <c:v>1E-3</c:v>
                </c:pt>
                <c:pt idx="27">
                  <c:v>1E-3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1E-3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E-3</c:v>
                </c:pt>
                <c:pt idx="80">
                  <c:v>1E-3</c:v>
                </c:pt>
                <c:pt idx="81">
                  <c:v>1E-3</c:v>
                </c:pt>
                <c:pt idx="82">
                  <c:v>1E-3</c:v>
                </c:pt>
                <c:pt idx="83">
                  <c:v>1E-3</c:v>
                </c:pt>
                <c:pt idx="84">
                  <c:v>1E-3</c:v>
                </c:pt>
                <c:pt idx="85">
                  <c:v>1E-3</c:v>
                </c:pt>
                <c:pt idx="86">
                  <c:v>1E-3</c:v>
                </c:pt>
                <c:pt idx="87">
                  <c:v>1E-3</c:v>
                </c:pt>
                <c:pt idx="88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30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chart" Target="../charts/chart1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1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chart" Target="../charts/chart18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chart" Target="../charts/chart19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chart" Target="../charts/chart20.xml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chart" Target="../charts/chart2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chart" Target="../charts/chart2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chart" Target="../charts/chart23.xml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chart" Target="../charts/chart24.xml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chart" Target="../charts/chart25.xml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chart" Target="../charts/chart26.xml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chart" Target="../charts/chart27.xml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chart" Target="../charts/chart28.xml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chart" Target="../charts/chart29.xml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chart" Target="../charts/chart30.xml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1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chart" Target="../charts/chart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chart" Target="../charts/chart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chart" Target="../charts/chart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: léto 2021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246961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6D3C63-0E27-4A6A-879B-19BB768654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739620"/>
              </p:ext>
            </p:extLst>
          </p:nvPr>
        </p:nvGraphicFramePr>
        <p:xfrm>
          <a:off x="2622523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E806D52-F766-466A-A810-E6CF17D37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2B06E06-70A1-4B93-936E-86CA22F206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923E76-E5A9-45D8-9BB6-FFCE5DF42E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6069BDA-1378-4928-8B49-C05CF781D4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472822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BC825D-29F4-4F8A-8519-7E702005C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207187"/>
              </p:ext>
            </p:extLst>
          </p:nvPr>
        </p:nvGraphicFramePr>
        <p:xfrm>
          <a:off x="2073884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058943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09C3001B-A18F-45FD-A9D6-51CC883DB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594888"/>
              </p:ext>
            </p:extLst>
          </p:nvPr>
        </p:nvGraphicFramePr>
        <p:xfrm>
          <a:off x="1852961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FBC5B694-4EAE-4001-BC57-1904B023C3E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B539091F-BAFC-47D8-96E8-715313940E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9C744F4A-BB16-4D1C-AA7D-423079380B3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8776F24-5BF6-4BFB-843A-D6DFAEE50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198083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3565B37-2E6F-45A1-BF8B-FEE50380A2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081464"/>
              </p:ext>
            </p:extLst>
          </p:nvPr>
        </p:nvGraphicFramePr>
        <p:xfrm>
          <a:off x="230664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D93E988-E45A-43A5-ADC5-CC93AFD054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F617EFE-4367-4030-961F-32EF3525538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F8F1566-08AC-42B0-A669-70174A3EFD0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9FEAAE31-28ED-49FC-B1D4-DA3AB4DE970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981386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128CB7-48AC-4392-9EFA-1800165DA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765555"/>
              </p:ext>
            </p:extLst>
          </p:nvPr>
        </p:nvGraphicFramePr>
        <p:xfrm>
          <a:off x="2065572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76743B08-494F-4A01-9D20-0A821EA3F2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55C46AB-BD52-4052-8BC0-A8D7E0FCAF8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8B9429F-8EE7-4155-836F-3A59DAD96C4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3C5A6AD-A606-407C-9EFA-8FA0E35EA6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728063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2AC8C60-1753-494B-8FAE-AF75E23055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154025"/>
              </p:ext>
            </p:extLst>
          </p:nvPr>
        </p:nvGraphicFramePr>
        <p:xfrm>
          <a:off x="16748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1CA9BC1-C898-4F46-B227-2018AADFAE6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8DD85244-F2F8-4E62-A4FA-5A0983D2054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6FE4067-06CD-4115-926E-17D5E19252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242BFD8-567D-4846-B363-F8FAECF644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881231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C157425-86A6-4B6A-9331-4CF1668B88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849047"/>
              </p:ext>
            </p:extLst>
          </p:nvPr>
        </p:nvGraphicFramePr>
        <p:xfrm>
          <a:off x="25892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CF8D6D6-BF2F-428B-B2EE-C5494D9DDA9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ED5180-E8BD-4D2B-BCBC-0A5FBA22277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FF567FE-6598-47DF-9CF8-52DCF46BDFB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A706769-324C-4B1C-8EDB-553F0E9C61C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: léto 2021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99842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69135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C8E8EB65-1FDD-40ED-9AAD-2185E5E18EC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264916DF-62FD-45D4-84D0-9AB6610E5AF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D59A008C-33F7-44A0-9C20-89C23B904DB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E5AA5D14-031D-4CEF-AE7E-FDF2F67075A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997694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C878F213-5D21-4701-A55D-E6829F4BC4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181612"/>
              </p:ext>
            </p:extLst>
          </p:nvPr>
        </p:nvGraphicFramePr>
        <p:xfrm>
          <a:off x="2098826" y="1003173"/>
          <a:ext cx="765008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5008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7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206368" y="3342751"/>
            <a:ext cx="1888984" cy="738664"/>
            <a:chOff x="10270650" y="3526984"/>
            <a:chExt cx="1888984" cy="738664"/>
          </a:xfrm>
        </p:grpSpPr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213790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16DA29F-C8F3-4658-BB29-54B9A9366D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EEA5F3D1-DC78-49EB-8843-651E9133F7C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657A24A-74A3-4034-A795-0AFF1F7607F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957E97EC-78EA-48ED-92AF-E2DBA591CFD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08409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B02E742-3BBA-420C-85D8-B29B17BD9EE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8C153FD1-B11D-468A-B8E1-4A808B9D9A2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ACA2D789-95A5-4E2B-A9FE-76788D27CD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9E4441CB-EECA-491C-82A9-70FCEE947B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283545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4FDF9B9-CAB3-4508-AD03-FFB1809229F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A231ECDF-6A8F-4F2C-998F-DD90FC01C74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F59E786-497D-453D-B686-D9F39A973F1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EAB20D49-1314-4BA9-83BE-6773C934D3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51300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82461F36-62CB-4B70-BF10-2C3FE31586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B26AC5B8-70FD-4EA8-8BFC-FC44A56F7A6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033FAC5-6556-4C64-A261-9934D65BC77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A4940F4F-6AEC-4F6D-9C10-D694BC9AC67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83184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B249F3A-57C6-4E02-814E-9C4B10FFBDF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43941C1E-7B05-4451-B6EB-0B0E70E7728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5383873-B123-4B63-9A4B-8EBD4C3734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0C5EBE3F-1477-45EC-90C8-2C72BE7A1E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58958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CB6C2F4-912A-4BD4-9BCC-F7AF80AFA3D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F45D08C6-BBE3-4912-A5DF-B97E735BEAF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08C71D1-2FAA-4972-9D51-585BEF89E5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79CAF5B0-5C4D-4A80-A5BC-A6E99BBA971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8634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439914A-1806-4C66-922D-2129CA67AEA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E61AFF0E-A228-48B2-853F-25ADD661E70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5D313F4D-AD18-460E-9B36-965F64194F8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5AD3F64-6B48-40E5-8469-222BB20E4D4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76051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6EF758F-2DC4-446D-9365-A5578DF451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827B4E75-8810-484A-BD0B-588307BC58A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EF00EF7-34A3-45CD-9169-F6E0D6FDFE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98F55602-78C7-4809-A96E-2CD6ACDCB68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69247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B1ED6CE4-CF04-45DF-9AA1-DA6954C448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EC4B6E96-AA2B-427A-8AD1-EA76EBD7458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58186CD-C924-4DDD-AFC8-08F0523EC6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5A26724F-05BF-490E-8129-3A2C3B17C91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42606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CE094795-2283-4B2A-B48D-BEC9B2522DC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000A6517-2A2F-4FFB-8B5C-0FF6E597008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35594D05-03A1-43FB-A3AE-1BDDC347FF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BBF1AD11-DEFA-432C-BB58-98C4B257E4F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084849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4F7431F-D009-4A6F-9F35-43C9EEB6C9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912857"/>
              </p:ext>
            </p:extLst>
          </p:nvPr>
        </p:nvGraphicFramePr>
        <p:xfrm>
          <a:off x="1766316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008B823-A361-4831-9CB5-F8CFB5FDF28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67BABA07-65A1-436D-9732-EF65B021C6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6CA75FD4-2199-47E2-94D4-AB79AFAF34B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37029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2355498-320A-4F01-A23A-695183C754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33533375-9E8E-4B01-8C35-365C1EB1154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EC7BD5-4BAE-4CD2-902A-39C3CAB2D76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B2A3381-D12F-4608-A574-324EB06E37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1080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57C33B3-B91A-4AA7-BCA2-2D028E083E5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431D2AE9-9EE9-47AA-A55F-86A8B14AA67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D44733C-1E42-495F-9310-9FD6354FDB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7918DDCC-FB38-4A15-BA41-6F75888186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59115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00255D5A-F165-412A-A4C8-55D1447FCEE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25029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53327108-8E58-493B-94D6-06FCB7CCE40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805626" y="3776731"/>
            <a:ext cx="2058749" cy="954107"/>
            <a:chOff x="10270650" y="3526984"/>
            <a:chExt cx="1888984" cy="954107"/>
          </a:xfrm>
        </p:grpSpPr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6F1D157B-D496-44C1-816C-91B8444B23D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6" name="TextovéPole 28">
              <a:extLst>
                <a:ext uri="{FF2B5EF4-FFF2-40B4-BE49-F238E27FC236}">
                  <a16:creationId xmlns:a16="http://schemas.microsoft.com/office/drawing/2014/main" id="{E351AC43-5C30-47C9-83C9-D6522D6D2CC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163946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4B08EB3-E8D4-447D-8759-4AA20C8380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05022"/>
              </p:ext>
            </p:extLst>
          </p:nvPr>
        </p:nvGraphicFramePr>
        <p:xfrm>
          <a:off x="2173638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3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334421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16534-AFDA-4250-AADA-3EF7CDFC00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566148"/>
              </p:ext>
            </p:extLst>
          </p:nvPr>
        </p:nvGraphicFramePr>
        <p:xfrm>
          <a:off x="186607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1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BEF6641-F353-4F7F-8EC5-D771E0847D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DDFBF04-3E67-4550-BEFF-332785F3B4E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088352F-A016-4FBA-AD73-69DF104657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1B0E5236-8560-4581-A686-7FB45454770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027723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0719826-4D66-4B50-9D39-55C84D9A8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200101"/>
              </p:ext>
            </p:extLst>
          </p:nvPr>
        </p:nvGraphicFramePr>
        <p:xfrm>
          <a:off x="1822134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EC3419F-3CAA-41F1-AB03-902F81CC8F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55D000F-8AF3-44BE-AA59-8998DAFAF76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B980D2-FD8E-4D45-8F13-B8462B5D84E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54713AB-76CF-45D8-B683-E2A4EDD952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619818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D2119C31-6FBC-4017-8125-C38DFA1BAC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823337"/>
              </p:ext>
            </p:extLst>
          </p:nvPr>
        </p:nvGraphicFramePr>
        <p:xfrm>
          <a:off x="216532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3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01DEDF3D-F376-4753-87C2-534EFA8E5C5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31C920BD-BE3A-4264-B26F-FCA28EB70D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A8E4F60-D1CF-47FC-BE76-DDCD921023D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731946D4-4F23-4C96-852D-4B865939DEB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072432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EC9ABBB-F8C3-4DA7-95A0-815930E200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979180"/>
              </p:ext>
            </p:extLst>
          </p:nvPr>
        </p:nvGraphicFramePr>
        <p:xfrm>
          <a:off x="1776071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D7428D86-FC28-4BEF-A7AE-C7DD7FECC82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09AC08D-3B47-4E42-B404-9280C2EBB13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CB14CF1-4499-4F06-B5B1-2D67709508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F872B93-CA40-41CD-8D2C-FD6C409B16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979889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7A93822-FD8D-4C16-95A6-992321D2F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378785"/>
              </p:ext>
            </p:extLst>
          </p:nvPr>
        </p:nvGraphicFramePr>
        <p:xfrm>
          <a:off x="1917039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AB9C499-6AEC-4E7E-BA11-6E2833F4AA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88ACD8A-EA02-4D32-888D-C6563E22272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479BA8-6F02-4839-960A-34B10F542B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E1E22BC0-2A61-4951-8186-99BAA276C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5</TotalTime>
  <Words>1051</Words>
  <Application>Microsoft Office PowerPoint</Application>
  <PresentationFormat>Širokoúhlá obrazovka</PresentationFormat>
  <Paragraphs>24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35</cp:revision>
  <dcterms:created xsi:type="dcterms:W3CDTF">2021-03-07T17:04:34Z</dcterms:created>
  <dcterms:modified xsi:type="dcterms:W3CDTF">2021-08-30T18:16:37Z</dcterms:modified>
</cp:coreProperties>
</file>